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7" r:id="rId4"/>
    <p:sldMasterId id="2147483837" r:id="rId5"/>
    <p:sldMasterId id="2147483875" r:id="rId6"/>
    <p:sldMasterId id="2147483877" r:id="rId7"/>
    <p:sldMasterId id="2147483882" r:id="rId8"/>
    <p:sldMasterId id="2147483889" r:id="rId9"/>
  </p:sldMasterIdLst>
  <p:notesMasterIdLst>
    <p:notesMasterId r:id="rId14"/>
  </p:notesMasterIdLst>
  <p:handoutMasterIdLst>
    <p:handoutMasterId r:id="rId15"/>
  </p:handoutMasterIdLst>
  <p:sldIdLst>
    <p:sldId id="310" r:id="rId10"/>
    <p:sldId id="343" r:id="rId11"/>
    <p:sldId id="351" r:id="rId12"/>
    <p:sldId id="349" r:id="rId13"/>
  </p:sldIdLst>
  <p:sldSz cx="12192000" cy="6858000"/>
  <p:notesSz cx="6858000" cy="9144000"/>
  <p:custDataLst>
    <p:tags r:id="rId16"/>
  </p:custDataLst>
  <p:defaultTextStyle>
    <a:defPPr marL="0" marR="0" indent="0" algn="l" defTabSz="4572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9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1pPr>
    <a:lvl2pPr marL="0" marR="0" indent="11430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2pPr>
    <a:lvl3pPr marL="0" marR="0" indent="22860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3pPr>
    <a:lvl4pPr marL="0" marR="0" indent="34290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4pPr>
    <a:lvl5pPr marL="0" marR="0" indent="45720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5pPr>
    <a:lvl6pPr marL="0" marR="0" indent="57150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6pPr>
    <a:lvl7pPr marL="0" marR="0" indent="68580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7pPr>
    <a:lvl8pPr marL="0" marR="0" indent="80010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8pPr>
    <a:lvl9pPr marL="0" marR="0" indent="914400" algn="ctr" defTabSz="41275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500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j-lt"/>
        <a:ea typeface="+mj-ea"/>
        <a:cs typeface="+mj-cs"/>
        <a:sym typeface="Helvetica Neue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40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2AE"/>
    <a:srgbClr val="CCCCCC"/>
    <a:srgbClr val="ED1C24"/>
    <a:srgbClr val="E30611"/>
    <a:srgbClr val="EC3422"/>
    <a:srgbClr val="EE2023"/>
    <a:srgbClr val="E30613"/>
    <a:srgbClr val="ED1F23"/>
    <a:srgbClr val="C0C0C0"/>
    <a:srgbClr val="E21D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lumOff val="-13575"/>
            </a:schemeClr>
          </a:solidFill>
        </a:fill>
      </a:tcStyle>
    </a:firstCol>
    <a:lastRow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hueOff val="114395"/>
              <a:lumOff val="-24975"/>
            </a:schemeClr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362282"/>
              <a:satOff val="31803"/>
              <a:lumOff val="-18242"/>
            </a:schemeClr>
          </a:solidFill>
        </a:fill>
      </a:tcStyle>
    </a:firstCol>
    <a:lastRow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929292"/>
              </a:solidFill>
              <a:prstDash val="solid"/>
              <a:miter lim="400000"/>
            </a:ln>
          </a:left>
          <a:right>
            <a:ln w="12700" cap="flat">
              <a:solidFill>
                <a:srgbClr val="929292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929292"/>
              </a:solidFill>
              <a:prstDash val="solid"/>
              <a:miter lim="400000"/>
            </a:ln>
          </a:insideH>
          <a:insideV>
            <a:ln w="12700" cap="flat">
              <a:solidFill>
                <a:srgbClr val="929292"/>
              </a:solidFill>
              <a:prstDash val="solid"/>
              <a:miter lim="400000"/>
            </a:ln>
          </a:insideV>
        </a:tcBdr>
        <a:fill>
          <a:solidFill>
            <a:srgbClr val="01710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Neue Light"/>
          <a:ea typeface="Helvetica Neue Light"/>
          <a:cs typeface="Helvetica Neue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rgbClr val="EDEADD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9BA00"/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ADBDA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chemeClr val="accent6">
              <a:hueOff val="-146070"/>
              <a:satOff val="-10048"/>
              <a:lumOff val="-30626"/>
            </a:schemeClr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B5B5C1"/>
          </a:solidFill>
        </a:fill>
      </a:tcStyle>
    </a:wholeTbl>
    <a:band2H>
      <a:tcTxStyle/>
      <a:tcStyle>
        <a:tcBdr/>
        <a:fill>
          <a:solidFill>
            <a:srgbClr val="9A9AA5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85F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05" autoAdjust="0"/>
    <p:restoredTop sz="94598"/>
  </p:normalViewPr>
  <p:slideViewPr>
    <p:cSldViewPr snapToGrid="0" snapToObjects="1" showGuides="1">
      <p:cViewPr varScale="1">
        <p:scale>
          <a:sx n="114" d="100"/>
          <a:sy n="114" d="100"/>
        </p:scale>
        <p:origin x="300" y="114"/>
      </p:cViewPr>
      <p:guideLst>
        <p:guide pos="3840"/>
        <p:guide orient="horz" pos="404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87" d="100"/>
          <a:sy n="87" d="100"/>
        </p:scale>
        <p:origin x="28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1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CB52AB-E89C-A34F-8AF0-9AFBAE94207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4C845B-ECCD-BE4F-A969-B334EA1993B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306F12-0AA2-1F43-BEFC-119D6BBB6D9E}" type="slidenum">
              <a:rPr lang="ru-RU" smtClean="0"/>
              <a:t>‹#›</a:t>
            </a:fld>
            <a:endParaRPr lang="ru-RU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BE0033F-6172-AD43-890D-6172027BC81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57456E-80C1-CB43-8B0B-ABBA900CE706}" type="datetimeFigureOut">
              <a:rPr lang="ru-RU" smtClean="0"/>
              <a:t>16.11.2023</a:t>
            </a:fld>
            <a:endParaRPr lang="ru-RU"/>
          </a:p>
        </p:txBody>
      </p:sp>
      <p:sp>
        <p:nvSpPr>
          <p:cNvPr id="3" name="Header Placeholder 2">
            <a:extLst>
              <a:ext uri="{FF2B5EF4-FFF2-40B4-BE49-F238E27FC236}">
                <a16:creationId xmlns:a16="http://schemas.microsoft.com/office/drawing/2014/main" id="{F74DF7A7-DFD2-4445-AD1A-A327D90843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52834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Shape 95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96" name="Shape 9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57056430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1pPr>
    <a:lvl2pPr indent="1143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2pPr>
    <a:lvl3pPr indent="2286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3pPr>
    <a:lvl4pPr indent="3429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4pPr>
    <a:lvl5pPr indent="4572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5pPr>
    <a:lvl6pPr indent="5715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6pPr>
    <a:lvl7pPr indent="6858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7pPr>
    <a:lvl8pPr indent="8001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8pPr>
    <a:lvl9pPr indent="914400" defTabSz="228600" latinLnBrk="0">
      <a:lnSpc>
        <a:spcPct val="117999"/>
      </a:lnSpc>
      <a:defRPr sz="1100">
        <a:latin typeface="+mj-lt"/>
        <a:ea typeface="+mj-ea"/>
        <a:cs typeface="+mj-cs"/>
        <a:sym typeface="Helvetica Neue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9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9255914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4549218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55064C05-E44F-FD42-8F6C-5EE59B896BD6}"/>
              </a:ext>
            </a:extLst>
          </p:cNvPr>
          <p:cNvSpPr>
            <a:spLocks noGrp="1"/>
          </p:cNvSpPr>
          <p:nvPr>
            <p:ph type="chart" sz="quarter" idx="10" hasCustomPrompt="1"/>
          </p:nvPr>
        </p:nvSpPr>
        <p:spPr>
          <a:xfrm>
            <a:off x="749300" y="2277269"/>
            <a:ext cx="6103144" cy="381635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bg1">
                    <a:alpha val="50000"/>
                  </a:schemeClr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en-US" dirty="0"/>
              <a:t>Char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0373870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E9269D78-5C09-9F41-A835-32E36F011CF7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>
          <a:xfrm>
            <a:off x="749300" y="2277269"/>
            <a:ext cx="10706100" cy="381635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bg1">
                    <a:alpha val="51000"/>
                  </a:schemeClr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r>
              <a:rPr lang="en-US" dirty="0"/>
              <a:t>Table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0A2E27-7E18-AC4F-9371-B72A757A04D1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500481040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F685A7D-55FA-1F40-AA6D-E96F6CE54F1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bg1">
                    <a:alpha val="50000"/>
                  </a:schemeClr>
                </a:solidFill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0185787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0460169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7F7F7F"/>
                </a:solidFill>
                <a:latin typeface="Arial" charset="0"/>
              </a:defRPr>
            </a:lvl1pPr>
          </a:lstStyle>
          <a:p>
            <a:pPr>
              <a:defRPr/>
            </a:pPr>
            <a:fld id="{0EE0D837-6F28-460F-A288-64314F3668FE}" type="datetime1">
              <a:rPr lang="en-US" smtClean="0"/>
              <a:pPr>
                <a:defRPr/>
              </a:pPr>
              <a:t>11/16/2023</a:t>
            </a:fld>
            <a:endParaRPr lang="ru-RU" dirty="0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B1C286-12D5-47CF-BE3C-8A92B57C510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729976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6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Рисунок 4">
            <a:extLst>
              <a:ext uri="{FF2B5EF4-FFF2-40B4-BE49-F238E27FC236}">
                <a16:creationId xmlns:a16="http://schemas.microsoft.com/office/drawing/2014/main" id="{98CA6B21-BE06-45BF-9916-BBF916578C21}"/>
              </a:ext>
            </a:extLst>
          </p:cNvPr>
          <p:cNvPicPr>
            <a:picLocks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49" r="2467"/>
          <a:stretch/>
        </p:blipFill>
        <p:spPr bwMode="gray">
          <a:xfrm>
            <a:off x="0" y="203"/>
            <a:ext cx="12192000" cy="6857596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2389" y="1463555"/>
            <a:ext cx="7281012" cy="50244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2390" y="3951423"/>
            <a:ext cx="728101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pic>
        <p:nvPicPr>
          <p:cNvPr id="16" name="Изображение 8">
            <a:extLst>
              <a:ext uri="{FF2B5EF4-FFF2-40B4-BE49-F238E27FC236}">
                <a16:creationId xmlns:a16="http://schemas.microsoft.com/office/drawing/2014/main" id="{00E5D24A-B0CB-4BBC-BE56-D4B9757790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66" t="16386" r="14746" b="26156"/>
          <a:stretch/>
        </p:blipFill>
        <p:spPr>
          <a:xfrm>
            <a:off x="7554939" y="192588"/>
            <a:ext cx="2436240" cy="805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3633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7AE1BB-729E-45B0-BDA5-83003B76E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87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7AE1BB-729E-45B0-BDA5-83003B76EC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44190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rgbClr val="0A28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8AB67CB-A75D-48EB-9444-030D74C947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11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8AB67CB-A75D-48EB-9444-030D74C94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7">
            <a:extLst>
              <a:ext uri="{FF2B5EF4-FFF2-40B4-BE49-F238E27FC236}">
                <a16:creationId xmlns:a16="http://schemas.microsoft.com/office/drawing/2014/main" id="{9B0E7C20-62F3-4C14-AD08-8202462DA380}"/>
              </a:ext>
            </a:extLst>
          </p:cNvPr>
          <p:cNvPicPr>
            <a:picLocks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69" r="-52"/>
          <a:stretch/>
        </p:blipFill>
        <p:spPr bwMode="gray">
          <a:xfrm>
            <a:off x="0" y="203"/>
            <a:ext cx="12192000" cy="685759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Изображение 8">
            <a:extLst>
              <a:ext uri="{FF2B5EF4-FFF2-40B4-BE49-F238E27FC236}">
                <a16:creationId xmlns:a16="http://schemas.microsoft.com/office/drawing/2014/main" id="{10EA28C5-CB9C-45FE-B1E8-06E359642C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24" t="20045" r="13408" b="27065"/>
          <a:stretch/>
        </p:blipFill>
        <p:spPr>
          <a:xfrm>
            <a:off x="10712117" y="217260"/>
            <a:ext cx="1186803" cy="354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092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l" defTabSz="932962" fontAlgn="base" hangingPunct="1">
              <a:spcBef>
                <a:spcPct val="0"/>
              </a:spcBef>
              <a:spcAft>
                <a:spcPct val="0"/>
              </a:spcAft>
            </a:pPr>
            <a:fld id="{F15A793E-82E4-4717-851C-50155A107246}" type="datetimeFigureOut">
              <a:rPr lang="ru-RU" sz="1632" b="0" kern="1200" smtClean="0">
                <a:ea typeface="+mn-ea"/>
                <a:cs typeface="+mn-cs"/>
              </a:rPr>
              <a:pPr algn="l" defTabSz="932962" fontAlgn="base" hangingPunct="1">
                <a:spcBef>
                  <a:spcPct val="0"/>
                </a:spcBef>
                <a:spcAft>
                  <a:spcPct val="0"/>
                </a:spcAft>
              </a:pPr>
              <a:t>16.11.2023</a:t>
            </a:fld>
            <a:endParaRPr lang="ru-RU" sz="1632" b="0" kern="1200"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32962" fontAlgn="base" hangingPunct="1">
              <a:spcBef>
                <a:spcPct val="0"/>
              </a:spcBef>
              <a:spcAft>
                <a:spcPct val="0"/>
              </a:spcAft>
            </a:pPr>
            <a:endParaRPr lang="ru-RU" sz="1632" b="0" kern="1200"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 defTabSz="932962" fontAlgn="base" hangingPunct="1">
              <a:spcBef>
                <a:spcPct val="0"/>
              </a:spcBef>
              <a:spcAft>
                <a:spcPct val="0"/>
              </a:spcAft>
            </a:pPr>
            <a:fld id="{8F46255D-3BE2-4A0A-966F-9BC9C9D76A07}" type="slidenum">
              <a:rPr lang="ru-RU" sz="1632" b="0" kern="1200" smtClean="0">
                <a:ea typeface="+mn-ea"/>
                <a:cs typeface="+mn-cs"/>
              </a:rPr>
              <a:pPr algn="l" defTabSz="932962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632" b="0" kern="120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97133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5250796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97407" y="765175"/>
            <a:ext cx="11076923" cy="194374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6000" b="1" spc="50" baseline="0">
                <a:solidFill>
                  <a:schemeClr val="tx1"/>
                </a:solidFill>
                <a:latin typeface="MTS Sans UltraWide" panose="02000000000000000000" pitchFamily="50" charset="0"/>
                <a:ea typeface="MTS Sans UltraWide" panose="02000000000000000000" pitchFamily="50" charset="0"/>
                <a:cs typeface="Arial" pitchFamily="34" charset="0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97407" y="3033000"/>
            <a:ext cx="11076923" cy="396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spcBef>
                <a:spcPts val="0"/>
              </a:spcBef>
              <a:buNone/>
              <a:defRPr sz="1800" b="0" spc="50" baseline="0">
                <a:solidFill>
                  <a:schemeClr val="tx1"/>
                </a:solidFill>
                <a:latin typeface="MTS Sans UltraWide" panose="02000000000000000000" pitchFamily="50" charset="0"/>
                <a:ea typeface="MTS Sans UltraWide" panose="02000000000000000000" pitchFamily="50" charset="0"/>
                <a:cs typeface="Arial" pitchFamily="34" charset="0"/>
              </a:defRPr>
            </a:lvl1pPr>
            <a:lvl2pPr marL="562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" y="5357495"/>
            <a:ext cx="11442777" cy="745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081754"/>
      </p:ext>
    </p:extLst>
  </p:cSld>
  <p:clrMapOvr>
    <a:masterClrMapping/>
  </p:clrMapOvr>
  <p:hf hdr="0" ftr="0" dt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7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97407" y="1844824"/>
            <a:ext cx="11076923" cy="122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4400" b="1" spc="50" baseline="0">
                <a:solidFill>
                  <a:schemeClr val="bg1"/>
                </a:solidFill>
                <a:latin typeface="Futura New Bold" panose="020B0902020204020203" pitchFamily="34" charset="0"/>
                <a:cs typeface="Arial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97407" y="3176972"/>
            <a:ext cx="11076923" cy="396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buNone/>
              <a:defRPr sz="2400" b="0" spc="50" baseline="0">
                <a:solidFill>
                  <a:schemeClr val="bg1"/>
                </a:solidFill>
                <a:latin typeface="Futura New Book" panose="020B0502020204020303" pitchFamily="34" charset="0"/>
                <a:cs typeface="Arial" pitchFamily="34" charset="0"/>
              </a:defRPr>
            </a:lvl1pPr>
            <a:lvl2pPr marL="562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860" y="440668"/>
            <a:ext cx="1297297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840008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2703360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97407" y="765175"/>
            <a:ext cx="11076923" cy="1943745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6600" b="1" spc="50" baseline="0">
                <a:solidFill>
                  <a:schemeClr val="tx1"/>
                </a:solidFill>
                <a:latin typeface="MTS Sans Black" panose="02000000000000000000" pitchFamily="50" charset="0"/>
                <a:ea typeface="MTS Sans Black" panose="02000000000000000000" pitchFamily="50" charset="0"/>
                <a:cs typeface="Arial" pitchFamily="34" charset="0"/>
              </a:defRPr>
            </a:lvl1pPr>
          </a:lstStyle>
          <a:p>
            <a:r>
              <a:rPr lang="ru-RU" dirty="0"/>
              <a:t>Образец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97407" y="3033000"/>
            <a:ext cx="11076923" cy="396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>
              <a:spcBef>
                <a:spcPts val="0"/>
              </a:spcBef>
              <a:buNone/>
              <a:defRPr sz="2000" b="0" spc="50" baseline="0">
                <a:solidFill>
                  <a:schemeClr val="tx1"/>
                </a:solidFill>
                <a:latin typeface="MTS Sans Black" panose="02000000000000000000" pitchFamily="50" charset="0"/>
                <a:ea typeface="MTS Sans Black" panose="02000000000000000000" pitchFamily="50" charset="0"/>
                <a:cs typeface="Arial" pitchFamily="34" charset="0"/>
              </a:defRPr>
            </a:lvl1pPr>
            <a:lvl2pPr marL="562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" y="5357495"/>
            <a:ext cx="11442777" cy="745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74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7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0901055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64E4D4CB-1300-134C-8543-5FC129510DB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749300" y="2277269"/>
            <a:ext cx="10693400" cy="2286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05" y="6278113"/>
            <a:ext cx="1782425" cy="293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340098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64E4D4CB-1300-134C-8543-5FC129510DB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749300" y="2277269"/>
            <a:ext cx="6858794" cy="381635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2A127C7-A035-4541-98FB-F82D349DC202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46A7C22-501C-B84C-BFB3-C891C57C2CF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82000" y="2277269"/>
            <a:ext cx="3060700" cy="3816351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200" b="1">
                <a:latin typeface="MTS Sans" panose="02000000000000000000" pitchFamily="2" charset="0"/>
                <a:ea typeface="MTS Sans" panose="02000000000000000000" pitchFamily="2" charset="0"/>
                <a:cs typeface="Arial" panose="020B0604020202020204" pitchFamily="34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05" y="6278113"/>
            <a:ext cx="1782425" cy="293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5801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D1BCA763-FD75-6049-B7F8-A5ADAB15B678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749300" y="2277269"/>
            <a:ext cx="10693400" cy="381635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638DC0-7D48-524C-B249-82C683A68A46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05" y="6278113"/>
            <a:ext cx="1782425" cy="293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615321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2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CE539725-06A8-F14F-95E3-C78D46209C25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749300" y="2277269"/>
            <a:ext cx="10693400" cy="2303463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A0BD0B-F23A-B042-AE9A-12238BAB7DF8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351896747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3_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DDBCAFBD-2662-B64C-ABF3-3BCF09B6C6C7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749300" y="2277269"/>
            <a:ext cx="6858794" cy="381635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latin typeface="MTS Sans" panose="02000000000000000000" pitchFamily="2" charset="0"/>
                <a:ea typeface="MTS Sans" panose="02000000000000000000" pitchFamily="2" charset="0"/>
              </a:defRPr>
            </a:lvl1pPr>
          </a:lstStyle>
          <a:p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F7C1B0-6DC5-2548-A259-FB5CED71F980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032115888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" y="5357495"/>
            <a:ext cx="11442777" cy="74520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A8979C2-8B62-484B-A61A-F1C200EE7863}"/>
              </a:ext>
            </a:extLst>
          </p:cNvPr>
          <p:cNvSpPr txBox="1"/>
          <p:nvPr userDrawn="1"/>
        </p:nvSpPr>
        <p:spPr>
          <a:xfrm>
            <a:off x="11442700" y="6353546"/>
            <a:ext cx="749300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fld id="{EF282590-B7F3-0047-9363-60EA2FDD950E}" type="slidenum">
              <a:rPr kumimoji="0" lang="ru-RU" sz="1400" b="1" i="0" u="none" strike="noStrike" cap="none" spc="0" normalizeH="0" baseline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MTS Sans" panose="02000000000000000000" pitchFamily="2" charset="0"/>
                <a:ea typeface="MTS Sans" panose="02000000000000000000" pitchFamily="2" charset="0"/>
                <a:cs typeface="+mj-cs"/>
                <a:sym typeface="Helvetica Neue"/>
              </a:rPr>
              <a:t>‹#›</a:t>
            </a:fld>
            <a:endParaRPr kumimoji="0" lang="ru-RU" sz="14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MTS Sans" panose="02000000000000000000" pitchFamily="2" charset="0"/>
              <a:ea typeface="MTS Sans" panose="02000000000000000000" pitchFamily="2" charset="0"/>
              <a:cs typeface="+mj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880659728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8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4.png"/><Relationship Id="rId5" Type="http://schemas.openxmlformats.org/officeDocument/2006/relationships/theme" Target="../theme/theme4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22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7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5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6.v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6.bin"/><Relationship Id="rId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" y="5357495"/>
            <a:ext cx="11442777" cy="745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905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</p:sldLayoutIdLst>
  <p:transition spd="med"/>
  <p:hf hdr="0" ftr="0" dt="0"/>
  <p:txStyles>
    <p:titleStyle>
      <a:lvl1pPr marL="0" marR="0" indent="0" algn="l" defTabSz="412750" rtl="0" latinLnBrk="0">
        <a:lnSpc>
          <a:spcPts val="9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0" baseline="0">
          <a:ln>
            <a:noFill/>
          </a:ln>
          <a:solidFill>
            <a:schemeClr val="tx1"/>
          </a:solidFill>
          <a:uFillTx/>
          <a:latin typeface="MTS Sans" panose="02000000000000000000" pitchFamily="2" charset="0"/>
          <a:ea typeface="MTS Sans" panose="02000000000000000000" pitchFamily="2" charset="0"/>
          <a:cs typeface="Arial" panose="020B0604020202020204" pitchFamily="34" charset="0"/>
          <a:sym typeface="Helvetica Neue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5pPr>
      <a:lvl6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9pPr>
    </p:titleStyle>
    <p:bodyStyle>
      <a:lvl1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bg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5pPr>
      <a:lvl6pPr marL="0" marR="0" indent="1778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3556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5334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7112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328">
          <p15:clr>
            <a:srgbClr val="A4A3A4"/>
          </p15:clr>
        </p15:guide>
        <p15:guide id="4" pos="4793">
          <p15:clr>
            <a:srgbClr val="A4A3A4"/>
          </p15:clr>
        </p15:guide>
        <p15:guide id="6" pos="5768">
          <p15:clr>
            <a:srgbClr val="A4A3A4"/>
          </p15:clr>
        </p15:guide>
        <p15:guide id="7" pos="6244">
          <p15:clr>
            <a:srgbClr val="A4A3A4"/>
          </p15:clr>
        </p15:guide>
        <p15:guide id="8" pos="6721">
          <p15:clr>
            <a:srgbClr val="A4A3A4"/>
          </p15:clr>
        </p15:guide>
        <p15:guide id="9" pos="7208">
          <p15:clr>
            <a:srgbClr val="F26B43"/>
          </p15:clr>
        </p15:guide>
        <p15:guide id="10" pos="5280">
          <p15:clr>
            <a:srgbClr val="A4A3A4"/>
          </p15:clr>
        </p15:guide>
        <p15:guide id="11" pos="3364">
          <p15:clr>
            <a:srgbClr val="A4A3A4"/>
          </p15:clr>
        </p15:guide>
        <p15:guide id="12" pos="2876">
          <p15:clr>
            <a:srgbClr val="A4A3A4"/>
          </p15:clr>
        </p15:guide>
        <p15:guide id="13" pos="2389">
          <p15:clr>
            <a:srgbClr val="A4A3A4"/>
          </p15:clr>
        </p15:guide>
        <p15:guide id="14" pos="1912">
          <p15:clr>
            <a:srgbClr val="A4A3A4"/>
          </p15:clr>
        </p15:guide>
        <p15:guide id="15" pos="1436">
          <p15:clr>
            <a:srgbClr val="A4A3A4"/>
          </p15:clr>
        </p15:guide>
        <p15:guide id="16" pos="949">
          <p15:clr>
            <a:srgbClr val="A4A3A4"/>
          </p15:clr>
        </p15:guide>
        <p15:guide id="18" pos="472">
          <p15:clr>
            <a:srgbClr val="F26B43"/>
          </p15:clr>
        </p15:guide>
        <p15:guide id="19">
          <p15:clr>
            <a:srgbClr val="F26B43"/>
          </p15:clr>
        </p15:guide>
        <p15:guide id="20" orient="horz" pos="1922">
          <p15:clr>
            <a:srgbClr val="A4A3A4"/>
          </p15:clr>
        </p15:guide>
        <p15:guide id="21" orient="horz" pos="1435">
          <p15:clr>
            <a:srgbClr val="A4A3A4"/>
          </p15:clr>
        </p15:guide>
        <p15:guide id="22" orient="horz" pos="958">
          <p15:clr>
            <a:srgbClr val="A4A3A4"/>
          </p15:clr>
        </p15:guide>
        <p15:guide id="24" orient="horz" pos="482">
          <p15:clr>
            <a:srgbClr val="F26B43"/>
          </p15:clr>
        </p15:guide>
        <p15:guide id="25" orient="horz" pos="2398">
          <p15:clr>
            <a:srgbClr val="A4A3A4"/>
          </p15:clr>
        </p15:guide>
        <p15:guide id="26" orient="horz" pos="2875">
          <p15:clr>
            <a:srgbClr val="A4A3A4"/>
          </p15:clr>
        </p15:guide>
        <p15:guide id="27" orient="horz" pos="3362">
          <p15:clr>
            <a:srgbClr val="A4A3A4"/>
          </p15:clr>
        </p15:guide>
        <p15:guide id="29" orient="horz" pos="4320">
          <p15:clr>
            <a:srgbClr val="F26B43"/>
          </p15:clr>
        </p15:guide>
        <p15:guide id="30" pos="76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8429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4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61" r:id="rId8"/>
    <p:sldLayoutId id="2147483862" r:id="rId9"/>
    <p:sldLayoutId id="2147483863" r:id="rId10"/>
    <p:sldLayoutId id="2147483864" r:id="rId11"/>
    <p:sldLayoutId id="2147483865" r:id="rId12"/>
    <p:sldLayoutId id="2147483866" r:id="rId13"/>
    <p:sldLayoutId id="2147483891" r:id="rId14"/>
  </p:sldLayoutIdLst>
  <p:transition spd="med"/>
  <p:hf hdr="0" ftr="0" dt="0"/>
  <p:txStyles>
    <p:titleStyle>
      <a:lvl1pPr marL="0" marR="0" indent="0" algn="l" defTabSz="412750" rtl="0" latinLnBrk="0">
        <a:lnSpc>
          <a:spcPts val="9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0" b="1" i="0" u="none" strike="noStrike" cap="none" spc="0" baseline="0">
          <a:ln>
            <a:noFill/>
          </a:ln>
          <a:solidFill>
            <a:schemeClr val="tx1"/>
          </a:solidFill>
          <a:uFillTx/>
          <a:latin typeface="MTS Sans" panose="02000000000000000000" pitchFamily="2" charset="0"/>
          <a:ea typeface="MTS Sans" panose="02000000000000000000" pitchFamily="2" charset="0"/>
          <a:cs typeface="Arial" panose="020B0604020202020204" pitchFamily="34" charset="0"/>
          <a:sym typeface="Helvetica Neue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5pPr>
      <a:lvl6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 Neue"/>
        </a:defRPr>
      </a:lvl9pPr>
    </p:titleStyle>
    <p:bodyStyle>
      <a:lvl1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600" b="1" i="0" u="none" strike="noStrike" cap="none" spc="0" baseline="0">
          <a:ln>
            <a:noFill/>
          </a:ln>
          <a:solidFill>
            <a:schemeClr val="tx1"/>
          </a:solidFill>
          <a:uFillTx/>
          <a:latin typeface="MTS Sans" panose="02000000000000000000" pitchFamily="2" charset="0"/>
          <a:ea typeface="MTS Sans" panose="02000000000000000000" pitchFamily="2" charset="0"/>
          <a:cs typeface="Arial" panose="020B0604020202020204" pitchFamily="34" charset="0"/>
          <a:sym typeface="Helvetica Neue"/>
        </a:defRPr>
      </a:lvl1pPr>
      <a:lvl2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2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2pPr>
      <a:lvl3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3pPr>
      <a:lvl4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4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4pPr>
      <a:lvl5pPr marL="0" marR="0" indent="0" algn="l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+mj-ea"/>
          <a:cs typeface="Arial" panose="020B0604020202020204" pitchFamily="34" charset="0"/>
          <a:sym typeface="Helvetica Neue"/>
        </a:defRPr>
      </a:lvl5pPr>
      <a:lvl6pPr marL="0" marR="0" indent="1778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0" marR="0" indent="3556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0" marR="0" indent="5334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0" marR="0" indent="711200" algn="ctr" defTabSz="41275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328">
          <p15:clr>
            <a:srgbClr val="A4A3A4"/>
          </p15:clr>
        </p15:guide>
        <p15:guide id="4" pos="4793">
          <p15:clr>
            <a:srgbClr val="A4A3A4"/>
          </p15:clr>
        </p15:guide>
        <p15:guide id="6" pos="5768">
          <p15:clr>
            <a:srgbClr val="A4A3A4"/>
          </p15:clr>
        </p15:guide>
        <p15:guide id="7" pos="6244">
          <p15:clr>
            <a:srgbClr val="A4A3A4"/>
          </p15:clr>
        </p15:guide>
        <p15:guide id="8" pos="6721">
          <p15:clr>
            <a:srgbClr val="A4A3A4"/>
          </p15:clr>
        </p15:guide>
        <p15:guide id="9" pos="7208">
          <p15:clr>
            <a:srgbClr val="F26B43"/>
          </p15:clr>
        </p15:guide>
        <p15:guide id="10" pos="5280">
          <p15:clr>
            <a:srgbClr val="A4A3A4"/>
          </p15:clr>
        </p15:guide>
        <p15:guide id="11" pos="3364">
          <p15:clr>
            <a:srgbClr val="A4A3A4"/>
          </p15:clr>
        </p15:guide>
        <p15:guide id="12" pos="2876">
          <p15:clr>
            <a:srgbClr val="A4A3A4"/>
          </p15:clr>
        </p15:guide>
        <p15:guide id="13" pos="2411">
          <p15:clr>
            <a:srgbClr val="A4A3A4"/>
          </p15:clr>
        </p15:guide>
        <p15:guide id="14" pos="1912">
          <p15:clr>
            <a:srgbClr val="A4A3A4"/>
          </p15:clr>
        </p15:guide>
        <p15:guide id="15" pos="1436">
          <p15:clr>
            <a:srgbClr val="A4A3A4"/>
          </p15:clr>
        </p15:guide>
        <p15:guide id="16" pos="949">
          <p15:clr>
            <a:srgbClr val="A4A3A4"/>
          </p15:clr>
        </p15:guide>
        <p15:guide id="18" pos="472">
          <p15:clr>
            <a:srgbClr val="F26B43"/>
          </p15:clr>
        </p15:guide>
        <p15:guide id="19">
          <p15:clr>
            <a:srgbClr val="F26B43"/>
          </p15:clr>
        </p15:guide>
        <p15:guide id="20" orient="horz" pos="1922">
          <p15:clr>
            <a:srgbClr val="A4A3A4"/>
          </p15:clr>
        </p15:guide>
        <p15:guide id="21" orient="horz" pos="1435">
          <p15:clr>
            <a:srgbClr val="A4A3A4"/>
          </p15:clr>
        </p15:guide>
        <p15:guide id="22" orient="horz" pos="958">
          <p15:clr>
            <a:srgbClr val="A4A3A4"/>
          </p15:clr>
        </p15:guide>
        <p15:guide id="23" orient="horz" pos="550">
          <p15:clr>
            <a:srgbClr val="F26B43"/>
          </p15:clr>
        </p15:guide>
        <p15:guide id="24" orient="horz">
          <p15:clr>
            <a:srgbClr val="F26B43"/>
          </p15:clr>
        </p15:guide>
        <p15:guide id="25" orient="horz" pos="2398">
          <p15:clr>
            <a:srgbClr val="A4A3A4"/>
          </p15:clr>
        </p15:guide>
        <p15:guide id="26" orient="horz" pos="2875">
          <p15:clr>
            <a:srgbClr val="A4A3A4"/>
          </p15:clr>
        </p15:guide>
        <p15:guide id="27" orient="horz" pos="3362">
          <p15:clr>
            <a:srgbClr val="A4A3A4"/>
          </p15:clr>
        </p15:guide>
        <p15:guide id="28" orient="horz" pos="3839">
          <p15:clr>
            <a:srgbClr val="F26B43"/>
          </p15:clr>
        </p15:guide>
        <p15:guide id="29" orient="horz" pos="4320">
          <p15:clr>
            <a:srgbClr val="F26B43"/>
          </p15:clr>
        </p15:guide>
        <p15:guide id="30" pos="76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92500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rtl="0" fontAlgn="base">
        <a:spcBef>
          <a:spcPct val="0"/>
        </a:spcBef>
        <a:spcAft>
          <a:spcPct val="0"/>
        </a:spcAft>
        <a:defRPr lang="ru-RU" sz="2200" kern="1200" dirty="0">
          <a:solidFill>
            <a:srgbClr val="A80000"/>
          </a:solidFill>
          <a:latin typeface="Arial" pitchFamily="34" charset="0"/>
          <a:ea typeface="+mj-ea"/>
          <a:cs typeface="Arial" pitchFamily="34" charset="0"/>
        </a:defRPr>
      </a:lvl1pPr>
      <a:lvl2pPr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342900" indent="-342900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7268358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9" name="Слайд think-cell" r:id="rId9" imgW="270" imgH="270" progId="TCLayout.ActiveDocument.1">
                  <p:embed/>
                </p:oleObj>
              </mc:Choice>
              <mc:Fallback>
                <p:oleObj name="Слайд think-cell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3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6" name="Изображение 10">
            <a:extLst>
              <a:ext uri="{FF2B5EF4-FFF2-40B4-BE49-F238E27FC236}">
                <a16:creationId xmlns:a16="http://schemas.microsoft.com/office/drawing/2014/main" id="{0385A51B-EF5E-4E07-A7C7-1DBA1CB5CA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13" t="20657" r="16398" b="28627"/>
          <a:stretch/>
        </p:blipFill>
        <p:spPr>
          <a:xfrm>
            <a:off x="10716865" y="221804"/>
            <a:ext cx="1133889" cy="340146"/>
          </a:xfrm>
          <a:prstGeom prst="rect">
            <a:avLst/>
          </a:prstGeom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4864"/>
            <a:ext cx="10369138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5" y="77303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6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5" y="566136"/>
            <a:ext cx="10369138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title</a:t>
            </a:r>
            <a:endParaRPr kumimoji="0" lang="ru-RU" sz="1632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71147"/>
            <a:ext cx="117254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6902" marR="0" lvl="0" indent="-106902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6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973507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21975" marR="0" lvl="0" indent="-621975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43032" algn="l"/>
              </a:tabLst>
              <a:defRPr/>
            </a:pPr>
            <a:r>
              <a:rPr kumimoji="0" lang="ru-RU" sz="816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32" b="1" i="0" u="none" strike="noStrike" kern="1200" cap="none" spc="0" normalizeH="0" baseline="0" noProof="0" dirty="0">
                  <a:ln>
                    <a:noFill/>
                  </a:ln>
                  <a:solidFill>
                    <a:srgbClr val="0A289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Название документа</a:t>
              </a:r>
            </a:p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32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243504" y="680943"/>
            <a:ext cx="643971" cy="153875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18742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37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361789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33" name="Слайд think-cell" r:id="rId7" imgW="270" imgH="270" progId="TCLayout.ActiveDocument.1">
                  <p:embed/>
                </p:oleObj>
              </mc:Choice>
              <mc:Fallback>
                <p:oleObj name="Слайд think-cell" r:id="rId7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C52937C-9F4A-4ABB-B866-08EEBD78BE8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" y="5357495"/>
            <a:ext cx="11442777" cy="745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619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6" r:id="rId3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lang="ru-RU" sz="2708" kern="1200" dirty="0">
          <a:solidFill>
            <a:srgbClr val="A80000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708">
          <a:solidFill>
            <a:srgbClr val="A80000"/>
          </a:solidFill>
          <a:latin typeface="Arial" pitchFamily="34" charset="0"/>
          <a:cs typeface="Arial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708">
          <a:solidFill>
            <a:srgbClr val="A80000"/>
          </a:solidFill>
          <a:latin typeface="Arial" pitchFamily="34" charset="0"/>
          <a:cs typeface="Arial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708">
          <a:solidFill>
            <a:srgbClr val="A80000"/>
          </a:solidFill>
          <a:latin typeface="Arial" pitchFamily="34" charset="0"/>
          <a:cs typeface="Arial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708">
          <a:solidFill>
            <a:srgbClr val="A80000"/>
          </a:solidFill>
          <a:latin typeface="Arial" pitchFamily="34" charset="0"/>
          <a:cs typeface="Arial" pitchFamily="34" charset="0"/>
        </a:defRPr>
      </a:lvl5pPr>
      <a:lvl6pPr marL="562722" algn="ctr" rtl="0" eaLnBrk="1" fontAlgn="base" hangingPunct="1">
        <a:spcBef>
          <a:spcPct val="0"/>
        </a:spcBef>
        <a:spcAft>
          <a:spcPct val="0"/>
        </a:spcAft>
        <a:defRPr sz="2708">
          <a:solidFill>
            <a:srgbClr val="A80000"/>
          </a:solidFill>
          <a:latin typeface="Arial" pitchFamily="34" charset="0"/>
          <a:cs typeface="Arial" pitchFamily="34" charset="0"/>
        </a:defRPr>
      </a:lvl6pPr>
      <a:lvl7pPr marL="1125444" algn="ctr" rtl="0" eaLnBrk="1" fontAlgn="base" hangingPunct="1">
        <a:spcBef>
          <a:spcPct val="0"/>
        </a:spcBef>
        <a:spcAft>
          <a:spcPct val="0"/>
        </a:spcAft>
        <a:defRPr sz="2708">
          <a:solidFill>
            <a:srgbClr val="A80000"/>
          </a:solidFill>
          <a:latin typeface="Arial" pitchFamily="34" charset="0"/>
          <a:cs typeface="Arial" pitchFamily="34" charset="0"/>
        </a:defRPr>
      </a:lvl7pPr>
      <a:lvl8pPr marL="1688165" algn="ctr" rtl="0" eaLnBrk="1" fontAlgn="base" hangingPunct="1">
        <a:spcBef>
          <a:spcPct val="0"/>
        </a:spcBef>
        <a:spcAft>
          <a:spcPct val="0"/>
        </a:spcAft>
        <a:defRPr sz="2708">
          <a:solidFill>
            <a:srgbClr val="A80000"/>
          </a:solidFill>
          <a:latin typeface="Arial" pitchFamily="34" charset="0"/>
          <a:cs typeface="Arial" pitchFamily="34" charset="0"/>
        </a:defRPr>
      </a:lvl8pPr>
      <a:lvl9pPr marL="2250887" algn="ctr" rtl="0" eaLnBrk="1" fontAlgn="base" hangingPunct="1">
        <a:spcBef>
          <a:spcPct val="0"/>
        </a:spcBef>
        <a:spcAft>
          <a:spcPct val="0"/>
        </a:spcAft>
        <a:defRPr sz="2708">
          <a:solidFill>
            <a:srgbClr val="A80000"/>
          </a:solidFill>
          <a:latin typeface="Arial" pitchFamily="34" charset="0"/>
          <a:cs typeface="Arial" pitchFamily="34" charset="0"/>
        </a:defRPr>
      </a:lvl9pPr>
    </p:titleStyle>
    <p:bodyStyle>
      <a:lvl1pPr marL="422041" indent="-422041" algn="l" rtl="0" eaLnBrk="1" fontAlgn="base" hangingPunct="1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846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22041" indent="-422041" algn="l" rtl="0" eaLnBrk="1" fontAlgn="base" hangingPunct="1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846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22041" indent="-422041" algn="l" rtl="0" eaLnBrk="1" fontAlgn="base" hangingPunct="1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846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22041" indent="-422041" algn="l" rtl="0" eaLnBrk="1" fontAlgn="base" hangingPunct="1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846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422041" indent="-422041" algn="l" rtl="0" eaLnBrk="1" fontAlgn="base" hangingPunct="1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846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3094970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22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79343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lang="ru-RU" sz="2708" kern="1200" dirty="0">
          <a:solidFill>
            <a:srgbClr val="A80000"/>
          </a:solidFill>
          <a:latin typeface="Arial" pitchFamily="34" charset="0"/>
          <a:ea typeface="+mj-ea"/>
          <a:cs typeface="Arial" pitchFamily="34" charset="0"/>
        </a:defRPr>
      </a:lvl1pPr>
      <a:lvl2pPr algn="ctr" rtl="0" fontAlgn="base">
        <a:spcBef>
          <a:spcPct val="0"/>
        </a:spcBef>
        <a:spcAft>
          <a:spcPct val="0"/>
        </a:spcAft>
        <a:defRPr sz="2708">
          <a:solidFill>
            <a:srgbClr val="A80000"/>
          </a:solidFill>
          <a:latin typeface="Arial" pitchFamily="34" charset="0"/>
          <a:cs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2708">
          <a:solidFill>
            <a:srgbClr val="A80000"/>
          </a:solidFill>
          <a:latin typeface="Arial" pitchFamily="34" charset="0"/>
          <a:cs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2708">
          <a:solidFill>
            <a:srgbClr val="A80000"/>
          </a:solidFill>
          <a:latin typeface="Arial" pitchFamily="34" charset="0"/>
          <a:cs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2708">
          <a:solidFill>
            <a:srgbClr val="A80000"/>
          </a:solidFill>
          <a:latin typeface="Arial" pitchFamily="34" charset="0"/>
          <a:cs typeface="Arial" pitchFamily="34" charset="0"/>
        </a:defRPr>
      </a:lvl5pPr>
      <a:lvl6pPr marL="562722" algn="ctr" rtl="0" eaLnBrk="1" fontAlgn="base" hangingPunct="1">
        <a:spcBef>
          <a:spcPct val="0"/>
        </a:spcBef>
        <a:spcAft>
          <a:spcPct val="0"/>
        </a:spcAft>
        <a:defRPr sz="2708">
          <a:solidFill>
            <a:srgbClr val="A80000"/>
          </a:solidFill>
          <a:latin typeface="Arial" pitchFamily="34" charset="0"/>
          <a:cs typeface="Arial" pitchFamily="34" charset="0"/>
        </a:defRPr>
      </a:lvl6pPr>
      <a:lvl7pPr marL="1125444" algn="ctr" rtl="0" eaLnBrk="1" fontAlgn="base" hangingPunct="1">
        <a:spcBef>
          <a:spcPct val="0"/>
        </a:spcBef>
        <a:spcAft>
          <a:spcPct val="0"/>
        </a:spcAft>
        <a:defRPr sz="2708">
          <a:solidFill>
            <a:srgbClr val="A80000"/>
          </a:solidFill>
          <a:latin typeface="Arial" pitchFamily="34" charset="0"/>
          <a:cs typeface="Arial" pitchFamily="34" charset="0"/>
        </a:defRPr>
      </a:lvl7pPr>
      <a:lvl8pPr marL="1688165" algn="ctr" rtl="0" eaLnBrk="1" fontAlgn="base" hangingPunct="1">
        <a:spcBef>
          <a:spcPct val="0"/>
        </a:spcBef>
        <a:spcAft>
          <a:spcPct val="0"/>
        </a:spcAft>
        <a:defRPr sz="2708">
          <a:solidFill>
            <a:srgbClr val="A80000"/>
          </a:solidFill>
          <a:latin typeface="Arial" pitchFamily="34" charset="0"/>
          <a:cs typeface="Arial" pitchFamily="34" charset="0"/>
        </a:defRPr>
      </a:lvl8pPr>
      <a:lvl9pPr marL="2250887" algn="ctr" rtl="0" eaLnBrk="1" fontAlgn="base" hangingPunct="1">
        <a:spcBef>
          <a:spcPct val="0"/>
        </a:spcBef>
        <a:spcAft>
          <a:spcPct val="0"/>
        </a:spcAft>
        <a:defRPr sz="2708">
          <a:solidFill>
            <a:srgbClr val="A80000"/>
          </a:solidFill>
          <a:latin typeface="Arial" pitchFamily="34" charset="0"/>
          <a:cs typeface="Arial" pitchFamily="34" charset="0"/>
        </a:defRPr>
      </a:lvl9pPr>
    </p:titleStyle>
    <p:bodyStyle>
      <a:lvl1pPr marL="422041" indent="-422041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846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22041" indent="-422041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846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22041" indent="-422041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846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422041" indent="-422041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846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422041" indent="-422041" algn="l" rtl="0" fontAlgn="base">
        <a:spcBef>
          <a:spcPct val="20000"/>
        </a:spcBef>
        <a:spcAft>
          <a:spcPct val="0"/>
        </a:spcAft>
        <a:buClr>
          <a:srgbClr val="C00000"/>
        </a:buClr>
        <a:buFont typeface="Wingdings" pitchFamily="2" charset="2"/>
        <a:buChar char="§"/>
        <a:defRPr lang="ru-RU" sz="1846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3094970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Группа 8"/>
          <p:cNvGrpSpPr/>
          <p:nvPr/>
        </p:nvGrpSpPr>
        <p:grpSpPr>
          <a:xfrm>
            <a:off x="720920" y="4349731"/>
            <a:ext cx="5442193" cy="932994"/>
            <a:chOff x="1828478" y="5376326"/>
            <a:chExt cx="2372695" cy="932994"/>
          </a:xfrm>
        </p:grpSpPr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A9605CA1-46C8-734A-B6F1-888C4561711A}"/>
                </a:ext>
              </a:extLst>
            </p:cNvPr>
            <p:cNvSpPr/>
            <p:nvPr/>
          </p:nvSpPr>
          <p:spPr>
            <a:xfrm>
              <a:off x="1828478" y="5723438"/>
              <a:ext cx="2372695" cy="585882"/>
            </a:xfrm>
            <a:prstGeom prst="rect">
              <a:avLst/>
            </a:prstGeom>
          </p:spPr>
          <p:txBody>
            <a:bodyPr lIns="0" tIns="0" rIns="0" bIns="0"/>
            <a:lstStyle/>
            <a:p>
              <a:pPr algn="l" defTabSz="914400" fontAlgn="base" hangingPunct="1">
                <a:spcBef>
                  <a:spcPct val="20000"/>
                </a:spcBef>
                <a:spcAft>
                  <a:spcPct val="0"/>
                </a:spcAft>
                <a:buClr>
                  <a:srgbClr val="C00000"/>
                </a:buClr>
              </a:pPr>
              <a:r>
                <a:rPr lang="ru-RU" sz="1200" kern="1200" dirty="0">
                  <a:solidFill>
                    <a:schemeClr val="bg1">
                      <a:lumMod val="50000"/>
                    </a:schemeClr>
                  </a:solidFill>
                  <a:latin typeface="MTS Sans" panose="02000000000000000000" pitchFamily="50" charset="0"/>
                  <a:cs typeface="Arial" panose="020B0604020202020204" pitchFamily="34" charset="0"/>
                </a:rPr>
                <a:t>КОМАНДА ЗАЛОГОВОГО КРЕДИТОВАНИЯ</a:t>
              </a:r>
            </a:p>
            <a:p>
              <a:pPr algn="l" defTabSz="914400" fontAlgn="base" hangingPunct="1">
                <a:spcBef>
                  <a:spcPct val="20000"/>
                </a:spcBef>
                <a:spcAft>
                  <a:spcPct val="0"/>
                </a:spcAft>
                <a:buClr>
                  <a:srgbClr val="C00000"/>
                </a:buClr>
              </a:pPr>
              <a:r>
                <a:rPr lang="ru-RU" sz="1200" b="0" kern="1200" dirty="0">
                  <a:solidFill>
                    <a:schemeClr val="bg1">
                      <a:lumMod val="50000"/>
                    </a:schemeClr>
                  </a:solidFill>
                  <a:latin typeface="MTS Sans" panose="02000000000000000000" pitchFamily="50" charset="0"/>
                  <a:cs typeface="Arial" panose="020B0604020202020204" pitchFamily="34" charset="0"/>
                </a:rPr>
                <a:t>СТРИМ «КРЕДИТОВАНИЕ»</a:t>
              </a: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B837054F-E2D4-3848-AC28-46760641A0C6}"/>
                </a:ext>
              </a:extLst>
            </p:cNvPr>
            <p:cNvSpPr/>
            <p:nvPr/>
          </p:nvSpPr>
          <p:spPr>
            <a:xfrm>
              <a:off x="1828478" y="5376326"/>
              <a:ext cx="2122709" cy="432861"/>
            </a:xfrm>
            <a:prstGeom prst="rect">
              <a:avLst/>
            </a:prstGeom>
          </p:spPr>
          <p:txBody>
            <a:bodyPr lIns="0" tIns="0" rIns="0" bIns="0"/>
            <a:lstStyle/>
            <a:p>
              <a:pPr algn="l" defTabSz="914400" fontAlgn="base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C00000"/>
                </a:buClr>
              </a:pPr>
              <a:endParaRPr lang="ru-RU" sz="1600" kern="1200" dirty="0">
                <a:latin typeface="MTS Sans" panose="02000000000000000000" pitchFamily="50" charset="0"/>
                <a:cs typeface="Arial" panose="020B0604020202020204" pitchFamily="34" charset="0"/>
              </a:endParaRPr>
            </a:p>
          </p:txBody>
        </p:sp>
      </p:grp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45B4D415-F7C3-0049-B214-A0B92B1828F5}"/>
              </a:ext>
            </a:extLst>
          </p:cNvPr>
          <p:cNvSpPr/>
          <p:nvPr/>
        </p:nvSpPr>
        <p:spPr>
          <a:xfrm>
            <a:off x="653806" y="1610493"/>
            <a:ext cx="10386105" cy="193899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l" defTabSz="914400" fontAlgn="base" hangingPunct="1">
              <a:lnSpc>
                <a:spcPts val="7200"/>
              </a:lnSpc>
              <a:spcBef>
                <a:spcPct val="0"/>
              </a:spcBef>
              <a:spcAft>
                <a:spcPts val="1200"/>
              </a:spcAft>
            </a:pPr>
            <a:r>
              <a:rPr lang="ru-RU" sz="2600" dirty="0">
                <a:solidFill>
                  <a:schemeClr val="tx1"/>
                </a:solidFill>
                <a:latin typeface="MTS Sans Black" panose="02000000000000000000" pitchFamily="50" charset="0"/>
                <a:cs typeface="Times New Roman" panose="02020603050405020304" pitchFamily="18" charset="0"/>
              </a:rPr>
              <a:t>ИЗМЕНЕНИЕ ПАРАМЕТРОВ СУБСИДИРОВАННЫХ ПРОГРАММ ПО ИПОТЕКЕ</a:t>
            </a:r>
            <a:endParaRPr lang="ru-RU" sz="2600" b="0" kern="1200" dirty="0">
              <a:solidFill>
                <a:schemeClr val="tx1"/>
              </a:solidFill>
              <a:latin typeface="MTS Sans Black" panose="02000000000000000000" pitchFamily="50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3410573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5B4D415-F7C3-0049-B214-A0B92B1828F5}"/>
              </a:ext>
            </a:extLst>
          </p:cNvPr>
          <p:cNvSpPr/>
          <p:nvPr/>
        </p:nvSpPr>
        <p:spPr>
          <a:xfrm>
            <a:off x="52389" y="0"/>
            <a:ext cx="1171843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14400" fontAlgn="base" hangingPunct="1">
              <a:spcBef>
                <a:spcPct val="0"/>
              </a:spcBef>
              <a:spcAft>
                <a:spcPts val="1200"/>
              </a:spcAft>
            </a:pPr>
            <a:r>
              <a:rPr lang="ru-RU" sz="2000" kern="1200" dirty="0">
                <a:latin typeface="Arial Black" panose="020B0604020202020204" pitchFamily="34" charset="0"/>
                <a:cs typeface="Arial Black" panose="020B0604020202020204" pitchFamily="34" charset="0"/>
              </a:rPr>
              <a:t>ПРЕДЛОЖЕНИЯ ПО ИЗМЕНЕНИЮ УСЛОВИЙ СУБСИДИРОВАННЫХ ПРОГРАММ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18918" y="640745"/>
            <a:ext cx="10040134" cy="394425"/>
          </a:xfrm>
          <a:prstGeom prst="roundRect">
            <a:avLst>
              <a:gd name="adj" fmla="val 22311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>
                <a:solidFill>
                  <a:schemeClr val="bg1"/>
                </a:solidFill>
                <a:latin typeface="MTS Sans Black" panose="02000000000000000000" pitchFamily="50" charset="0"/>
                <a:cs typeface="Times New Roman" panose="02020603050405020304" pitchFamily="18" charset="0"/>
              </a:rPr>
              <a:t>Продуктовые параметры по  действующим программа</a:t>
            </a:r>
          </a:p>
        </p:txBody>
      </p:sp>
      <p:graphicFrame>
        <p:nvGraphicFramePr>
          <p:cNvPr id="5" name="Таблица 4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1069766502"/>
              </p:ext>
            </p:extLst>
          </p:nvPr>
        </p:nvGraphicFramePr>
        <p:xfrm>
          <a:off x="518918" y="1252766"/>
          <a:ext cx="10040134" cy="25077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93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605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25698">
                  <a:extLst>
                    <a:ext uri="{9D8B030D-6E8A-4147-A177-3AD203B41FA5}">
                      <a16:colId xmlns:a16="http://schemas.microsoft.com/office/drawing/2014/main" val="4136880233"/>
                    </a:ext>
                  </a:extLst>
                </a:gridCol>
                <a:gridCol w="2460167">
                  <a:extLst>
                    <a:ext uri="{9D8B030D-6E8A-4147-A177-3AD203B41FA5}">
                      <a16:colId xmlns:a16="http://schemas.microsoft.com/office/drawing/2014/main" val="3670174563"/>
                    </a:ext>
                  </a:extLst>
                </a:gridCol>
              </a:tblGrid>
              <a:tr h="16656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Срок кредита, лет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от 3</a:t>
                      </a:r>
                      <a:r>
                        <a:rPr lang="ru-RU" sz="12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до 3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606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Сумма кредита, р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fontAlgn="base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до </a:t>
                      </a:r>
                      <a:r>
                        <a:rPr lang="ru-RU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12 млн </a:t>
                      </a:r>
                      <a:r>
                        <a:rPr lang="ru-RU" sz="1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рублей для приобретения квартиры в Москве и МО, Санкт-Петербурге и ЛО,</a:t>
                      </a:r>
                    </a:p>
                    <a:p>
                      <a:pPr marL="0" marR="0" lvl="0" indent="0" algn="ctr" defTabSz="41275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до </a:t>
                      </a:r>
                      <a:r>
                        <a:rPr lang="ru-RU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6 млн</a:t>
                      </a:r>
                      <a:r>
                        <a:rPr lang="ru-RU" sz="1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 рублей для других регионах РФ. Для </a:t>
                      </a:r>
                      <a:r>
                        <a:rPr lang="en-US" sz="1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IT </a:t>
                      </a:r>
                      <a:r>
                        <a:rPr lang="ru-RU" sz="1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ипотеки - до 18 млн рублей в городах с населением более 1 млн человек, до 9 млн рублей в городах с населением до 1 мл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757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Первоначальный взнос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b="0" baseline="0" dirty="0">
                          <a:solidFill>
                            <a:schemeClr val="tx1"/>
                          </a:solidFill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от  20,1%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903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Годовая процентная ставка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Акционная </a:t>
                      </a:r>
                      <a:r>
                        <a:rPr lang="ru-RU" sz="12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% ставка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Период льготной ставки</a:t>
                      </a:r>
                      <a:r>
                        <a:rPr lang="en-US" sz="12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(мес.)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Размер</a:t>
                      </a:r>
                      <a:r>
                        <a:rPr lang="ru-RU" sz="12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возмещения % ставки Застройщиком  (ГК «Эталон» + остальные застройщики)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515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Ипотека с господдержко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5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весь срок креди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24,5% </a:t>
                      </a:r>
                      <a:r>
                        <a:rPr lang="ru-RU" sz="11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(от суммы кредита)</a:t>
                      </a:r>
                      <a:r>
                        <a:rPr lang="ru-RU" sz="11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614657"/>
                  </a:ext>
                </a:extLst>
              </a:tr>
              <a:tr h="29515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Семейная ипотек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3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весь</a:t>
                      </a:r>
                      <a:r>
                        <a:rPr lang="ru-RU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срок кредита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13% </a:t>
                      </a:r>
                      <a:r>
                        <a:rPr lang="ru-RU" sz="11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(от суммы кредита)</a:t>
                      </a:r>
                      <a:r>
                        <a:rPr lang="ru-RU" sz="11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0972549"/>
                  </a:ext>
                </a:extLst>
              </a:tr>
              <a:tr h="29515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Ипотека для </a:t>
                      </a: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IT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2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весь</a:t>
                      </a:r>
                      <a:r>
                        <a:rPr lang="ru-RU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срок кредита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27% </a:t>
                      </a:r>
                      <a:r>
                        <a:rPr lang="ru-RU" sz="11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(от суммы кредита)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48660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87851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5B4D415-F7C3-0049-B214-A0B92B1828F5}"/>
              </a:ext>
            </a:extLst>
          </p:cNvPr>
          <p:cNvSpPr/>
          <p:nvPr/>
        </p:nvSpPr>
        <p:spPr>
          <a:xfrm>
            <a:off x="52389" y="0"/>
            <a:ext cx="1171843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14400" fontAlgn="base" hangingPunct="1">
              <a:spcBef>
                <a:spcPct val="0"/>
              </a:spcBef>
              <a:spcAft>
                <a:spcPts val="1200"/>
              </a:spcAft>
            </a:pPr>
            <a:r>
              <a:rPr lang="ru-RU" sz="2000" kern="1200" dirty="0">
                <a:latin typeface="Arial Black" panose="020B0604020202020204" pitchFamily="34" charset="0"/>
                <a:cs typeface="Arial Black" panose="020B0604020202020204" pitchFamily="34" charset="0"/>
              </a:rPr>
              <a:t>ПРЕДЛОЖЕНИЯ ПО ИЗМЕНЕНИЮ УСЛОВИЙ СУБСИДИРОВАННЫХ ПРОГРАММ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18918" y="640745"/>
            <a:ext cx="10040134" cy="394425"/>
          </a:xfrm>
          <a:prstGeom prst="roundRect">
            <a:avLst>
              <a:gd name="adj" fmla="val 22311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>
                <a:solidFill>
                  <a:schemeClr val="bg1"/>
                </a:solidFill>
                <a:latin typeface="MTS Sans Black" panose="02000000000000000000" pitchFamily="50" charset="0"/>
                <a:cs typeface="Times New Roman" panose="02020603050405020304" pitchFamily="18" charset="0"/>
              </a:rPr>
              <a:t>Продуктовые параметры по  действующим программа</a:t>
            </a:r>
          </a:p>
        </p:txBody>
      </p:sp>
      <p:graphicFrame>
        <p:nvGraphicFramePr>
          <p:cNvPr id="5" name="Таблица 4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187351137"/>
              </p:ext>
            </p:extLst>
          </p:nvPr>
        </p:nvGraphicFramePr>
        <p:xfrm>
          <a:off x="518918" y="1252766"/>
          <a:ext cx="10040134" cy="47915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93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605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25698">
                  <a:extLst>
                    <a:ext uri="{9D8B030D-6E8A-4147-A177-3AD203B41FA5}">
                      <a16:colId xmlns:a16="http://schemas.microsoft.com/office/drawing/2014/main" val="4136880233"/>
                    </a:ext>
                  </a:extLst>
                </a:gridCol>
                <a:gridCol w="2460167">
                  <a:extLst>
                    <a:ext uri="{9D8B030D-6E8A-4147-A177-3AD203B41FA5}">
                      <a16:colId xmlns:a16="http://schemas.microsoft.com/office/drawing/2014/main" val="3670174563"/>
                    </a:ext>
                  </a:extLst>
                </a:gridCol>
              </a:tblGrid>
              <a:tr h="16656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Срок кредита, лет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от 3</a:t>
                      </a:r>
                      <a:r>
                        <a:rPr lang="ru-RU" sz="12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до 3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631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Сумма кредита, р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fontAlgn="base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до </a:t>
                      </a:r>
                      <a:r>
                        <a:rPr lang="ru-RU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30 млн </a:t>
                      </a:r>
                      <a:r>
                        <a:rPr lang="ru-RU" sz="1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рублей для приобретения квартиры в Москве и МО, Санкт-Петербурге и ЛО,</a:t>
                      </a:r>
                    </a:p>
                    <a:p>
                      <a:pPr fontAlgn="base"/>
                      <a:r>
                        <a:rPr lang="ru-RU" sz="1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до </a:t>
                      </a:r>
                      <a:r>
                        <a:rPr lang="ru-RU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15 млн </a:t>
                      </a:r>
                      <a:r>
                        <a:rPr lang="ru-RU" sz="1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рублей для других регионах РФ. По программе «Ипотека в Новостройке» сумма до 50 млн рубле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757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Первоначальный взнос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b="0" baseline="0" dirty="0">
                          <a:solidFill>
                            <a:schemeClr val="tx1"/>
                          </a:solidFill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от  20,1%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903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Годовая процентная ставка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Акционная </a:t>
                      </a:r>
                      <a:r>
                        <a:rPr lang="ru-RU" sz="12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% ставка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Период льготной ставки</a:t>
                      </a:r>
                      <a:r>
                        <a:rPr lang="en-US" sz="12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(мес.)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Размер</a:t>
                      </a:r>
                      <a:r>
                        <a:rPr lang="ru-RU" sz="12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возмещения % ставки Застройщиком  (ГК «Эталон» + остальные застройщики)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5152">
                <a:tc rowSpan="3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Ипотека с господдержко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5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весь срок креди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65% </a:t>
                      </a:r>
                      <a:r>
                        <a:rPr lang="ru-RU" sz="11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(от суммы кредита)</a:t>
                      </a:r>
                      <a:r>
                        <a:rPr lang="ru-RU" sz="11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614657"/>
                  </a:ext>
                </a:extLst>
              </a:tr>
              <a:tr h="295152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7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весь срок креди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51% </a:t>
                      </a: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(от суммы кредита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8097625"/>
                  </a:ext>
                </a:extLst>
              </a:tr>
              <a:tr h="295152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8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весь срок креди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41% (от суммы кредита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1602615"/>
                  </a:ext>
                </a:extLst>
              </a:tr>
              <a:tr h="295152">
                <a:tc rowSpan="3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Семейная ипотек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3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весь</a:t>
                      </a:r>
                      <a:r>
                        <a:rPr lang="ru-RU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срок кредита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64% </a:t>
                      </a:r>
                      <a:r>
                        <a:rPr lang="ru-RU" sz="11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(от суммы кредита)</a:t>
                      </a:r>
                      <a:r>
                        <a:rPr lang="ru-RU" sz="11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0972549"/>
                  </a:ext>
                </a:extLst>
              </a:tr>
              <a:tr h="295152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5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весь срок креди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50% </a:t>
                      </a:r>
                      <a:r>
                        <a:rPr lang="ru-RU" sz="11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(от суммы кредита)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4104123"/>
                  </a:ext>
                </a:extLst>
              </a:tr>
              <a:tr h="295152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6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весь срок креди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41% </a:t>
                      </a:r>
                      <a:r>
                        <a:rPr lang="ru-RU" sz="11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(от суммы кредита)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0116069"/>
                  </a:ext>
                </a:extLst>
              </a:tr>
              <a:tr h="295152">
                <a:tc rowSpan="3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Ипотека для </a:t>
                      </a: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IT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2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весь</a:t>
                      </a:r>
                      <a:r>
                        <a:rPr lang="ru-RU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срок кредита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49% </a:t>
                      </a:r>
                      <a:r>
                        <a:rPr lang="ru-RU" sz="11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(от суммы кредита)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4866019"/>
                  </a:ext>
                </a:extLst>
              </a:tr>
              <a:tr h="295152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4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весь срок креди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35% </a:t>
                      </a:r>
                      <a:r>
                        <a:rPr lang="ru-RU" sz="11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(от суммы кредита)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9974121"/>
                  </a:ext>
                </a:extLst>
              </a:tr>
              <a:tr h="295152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5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весь срок креди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26% </a:t>
                      </a:r>
                      <a:r>
                        <a:rPr lang="ru-RU" sz="11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(от суммы кредита)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7695518"/>
                  </a:ext>
                </a:extLst>
              </a:tr>
              <a:tr h="295152">
                <a:tc rowSpan="2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Ипотека в Новостройк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1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весь срок креди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39% </a:t>
                      </a:r>
                      <a:r>
                        <a:rPr lang="ru-RU" sz="11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(от суммы кредита)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2951258"/>
                  </a:ext>
                </a:extLst>
              </a:tr>
              <a:tr h="295152">
                <a:tc vMerge="1"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11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весь срок креди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34% </a:t>
                      </a:r>
                      <a:r>
                        <a:rPr lang="ru-RU" sz="11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(от суммы кредита)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76206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02680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5B4D415-F7C3-0049-B214-A0B92B1828F5}"/>
              </a:ext>
            </a:extLst>
          </p:cNvPr>
          <p:cNvSpPr/>
          <p:nvPr/>
        </p:nvSpPr>
        <p:spPr>
          <a:xfrm>
            <a:off x="52389" y="0"/>
            <a:ext cx="1171843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914400" fontAlgn="base" hangingPunct="1">
              <a:spcBef>
                <a:spcPct val="0"/>
              </a:spcBef>
              <a:spcAft>
                <a:spcPts val="1200"/>
              </a:spcAft>
            </a:pPr>
            <a:r>
              <a:rPr lang="ru-RU" sz="2000" kern="1200" dirty="0">
                <a:latin typeface="Arial Black" panose="020B0604020202020204" pitchFamily="34" charset="0"/>
                <a:cs typeface="Arial Black" panose="020B0604020202020204" pitchFamily="34" charset="0"/>
              </a:rPr>
              <a:t>ПРЕДЛОЖЕНИЯ ПО ИЗМЕНЕНИЮ УСЛОВИЙ СУБСИДИРОВАННЫХ ПРОГРАММ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18918" y="640745"/>
            <a:ext cx="10040134" cy="394425"/>
          </a:xfrm>
          <a:prstGeom prst="roundRect">
            <a:avLst>
              <a:gd name="adj" fmla="val 22311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>
                <a:solidFill>
                  <a:schemeClr val="bg1"/>
                </a:solidFill>
                <a:latin typeface="MTS Sans Black" panose="02000000000000000000" pitchFamily="50" charset="0"/>
                <a:cs typeface="Times New Roman" panose="02020603050405020304" pitchFamily="18" charset="0"/>
              </a:rPr>
              <a:t>Продуктовые параметры по  действующим программа</a:t>
            </a:r>
          </a:p>
        </p:txBody>
      </p:sp>
      <p:graphicFrame>
        <p:nvGraphicFramePr>
          <p:cNvPr id="6" name="Таблица 5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3435391944"/>
              </p:ext>
            </p:extLst>
          </p:nvPr>
        </p:nvGraphicFramePr>
        <p:xfrm>
          <a:off x="518917" y="1156875"/>
          <a:ext cx="10040135" cy="23818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05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95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64566">
                  <a:extLst>
                    <a:ext uri="{9D8B030D-6E8A-4147-A177-3AD203B41FA5}">
                      <a16:colId xmlns:a16="http://schemas.microsoft.com/office/drawing/2014/main" val="4136880233"/>
                    </a:ext>
                  </a:extLst>
                </a:gridCol>
                <a:gridCol w="2505439">
                  <a:extLst>
                    <a:ext uri="{9D8B030D-6E8A-4147-A177-3AD203B41FA5}">
                      <a16:colId xmlns:a16="http://schemas.microsoft.com/office/drawing/2014/main" val="1943412401"/>
                    </a:ext>
                  </a:extLst>
                </a:gridCol>
              </a:tblGrid>
              <a:tr h="14757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Срок кредита, лет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от 3</a:t>
                      </a:r>
                      <a:r>
                        <a:rPr lang="ru-RU" sz="12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до 3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825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Сумма кредита, р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fontAlgn="base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до </a:t>
                      </a:r>
                      <a:r>
                        <a:rPr lang="en-US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30</a:t>
                      </a:r>
                      <a:r>
                        <a:rPr lang="ru-RU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 млн </a:t>
                      </a:r>
                      <a:r>
                        <a:rPr lang="ru-RU" sz="1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рублей для приобретения квартиры в Москве и МО, Санкт-Петербурге и ЛО,</a:t>
                      </a:r>
                    </a:p>
                    <a:p>
                      <a:pPr marL="0" marR="0" lvl="0" indent="0" algn="ctr" defTabSz="41275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до </a:t>
                      </a:r>
                      <a:r>
                        <a:rPr lang="en-US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15</a:t>
                      </a:r>
                      <a:r>
                        <a:rPr lang="ru-RU" sz="12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 млн</a:t>
                      </a:r>
                      <a:r>
                        <a:rPr lang="ru-RU" sz="1200" b="0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 рублей для других регионах РФ.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757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Первоначальный взнос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b="0" baseline="0" dirty="0">
                          <a:solidFill>
                            <a:schemeClr val="tx1"/>
                          </a:solidFill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от  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20</a:t>
                      </a:r>
                      <a:r>
                        <a:rPr lang="ru-RU" sz="1200" b="0" baseline="0" dirty="0">
                          <a:solidFill>
                            <a:schemeClr val="tx1"/>
                          </a:solidFill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,1</a:t>
                      </a:r>
                      <a:r>
                        <a:rPr lang="en-US" sz="1200" b="0" baseline="0" dirty="0">
                          <a:solidFill>
                            <a:schemeClr val="tx1"/>
                          </a:solidFill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%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9030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Годовая процентная ставка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Акционная </a:t>
                      </a:r>
                      <a:r>
                        <a:rPr lang="ru-RU" sz="12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% ставка на сумму до 12 млн</a:t>
                      </a:r>
                      <a:r>
                        <a:rPr lang="en-US" sz="12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/18 </a:t>
                      </a:r>
                      <a:r>
                        <a:rPr lang="ru-RU" sz="12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млн для </a:t>
                      </a:r>
                      <a:r>
                        <a:rPr lang="en-US" sz="12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IT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Процентная ставка на сумму свыше 12 млн/18 млн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Период льготной ставки</a:t>
                      </a:r>
                      <a:r>
                        <a:rPr lang="en-US" sz="12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(мес.)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MTS Sans" panose="02000000000000000000" pitchFamily="50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515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Семейная ипотека «Комбо»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6%</a:t>
                      </a:r>
                      <a:endParaRPr kumimoji="0" lang="ru-RU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TS Sans" panose="02000000000000000000" pitchFamily="50" charset="0"/>
                        <a:ea typeface="+mn-ea"/>
                        <a:cs typeface="Times New Roman" panose="02020603050405020304" pitchFamily="18" charset="0"/>
                        <a:sym typeface="Helvetica Neue Ligh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15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весь срок креди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614657"/>
                  </a:ext>
                </a:extLst>
              </a:tr>
              <a:tr h="295152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Ипотека с господдержкой «Комбо»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8%</a:t>
                      </a:r>
                      <a:endParaRPr kumimoji="0" lang="ru-RU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TS Sans" panose="02000000000000000000" pitchFamily="50" charset="0"/>
                        <a:ea typeface="+mn-ea"/>
                        <a:cs typeface="Times New Roman" panose="02020603050405020304" pitchFamily="18" charset="0"/>
                        <a:sym typeface="Helvetica Neue Ligh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17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весь срок креди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7806633"/>
                  </a:ext>
                </a:extLst>
              </a:tr>
              <a:tr h="217248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Ипотека для </a:t>
                      </a: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IT</a:t>
                      </a:r>
                      <a:r>
                        <a:rPr lang="ru-RU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MTS Sans" panose="02000000000000000000" pitchFamily="50" charset="0"/>
                          <a:cs typeface="Times New Roman" panose="02020603050405020304" pitchFamily="18" charset="0"/>
                        </a:rPr>
                        <a:t> «Комбо»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5%</a:t>
                      </a:r>
                      <a:endParaRPr kumimoji="0" lang="ru-RU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TS Sans" panose="02000000000000000000" pitchFamily="50" charset="0"/>
                        <a:ea typeface="+mn-ea"/>
                        <a:cs typeface="Times New Roman" panose="02020603050405020304" pitchFamily="18" charset="0"/>
                        <a:sym typeface="Helvetica Neue Ligh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18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1275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TS Sans" panose="02000000000000000000" pitchFamily="50" charset="0"/>
                          <a:ea typeface="+mn-ea"/>
                          <a:cs typeface="Times New Roman" panose="02020603050405020304" pitchFamily="18" charset="0"/>
                          <a:sym typeface="Helvetica Neue Light"/>
                        </a:rPr>
                        <a:t>весь срок креди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96064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32425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9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BLACK">
  <a:themeElements>
    <a:clrScheme name="Custom 4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ED1F23"/>
      </a:accent1>
      <a:accent2>
        <a:srgbClr val="FF6969"/>
      </a:accent2>
      <a:accent3>
        <a:srgbClr val="FF8993"/>
      </a:accent3>
      <a:accent4>
        <a:srgbClr val="FAA6AC"/>
      </a:accent4>
      <a:accent5>
        <a:srgbClr val="FFCBCD"/>
      </a:accent5>
      <a:accent6>
        <a:srgbClr val="FFDBE0"/>
      </a:accent6>
      <a:hlink>
        <a:srgbClr val="FEFFF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4_BLACK">
  <a:themeElements>
    <a:clrScheme name="Цвет 4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ED1F23"/>
      </a:accent1>
      <a:accent2>
        <a:srgbClr val="FF6969"/>
      </a:accent2>
      <a:accent3>
        <a:srgbClr val="FF8993"/>
      </a:accent3>
      <a:accent4>
        <a:srgbClr val="FAA6AC"/>
      </a:accent4>
      <a:accent5>
        <a:srgbClr val="FFCBCD"/>
      </a:accent5>
      <a:accent6>
        <a:srgbClr val="FFDBE0"/>
      </a:accent6>
      <a:hlink>
        <a:srgbClr val="3B6ABB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no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Тема MTS BANK">
  <a:themeElements>
    <a:clrScheme name="МТС Банк">
      <a:dk1>
        <a:srgbClr val="262626"/>
      </a:dk1>
      <a:lt1>
        <a:srgbClr val="FFFFFF"/>
      </a:lt1>
      <a:dk2>
        <a:srgbClr val="DBEEF3"/>
      </a:dk2>
      <a:lt2>
        <a:srgbClr val="595959"/>
      </a:lt2>
      <a:accent1>
        <a:srgbClr val="4BACC6"/>
      </a:accent1>
      <a:accent2>
        <a:srgbClr val="C00000"/>
      </a:accent2>
      <a:accent3>
        <a:srgbClr val="6F7C83"/>
      </a:accent3>
      <a:accent4>
        <a:srgbClr val="BFBFBF"/>
      </a:accent4>
      <a:accent5>
        <a:srgbClr val="3F3F3F"/>
      </a:accent5>
      <a:accent6>
        <a:srgbClr val="AF0000"/>
      </a:accent6>
      <a:hlink>
        <a:srgbClr val="7F7F7F"/>
      </a:hlink>
      <a:folHlink>
        <a:srgbClr val="EEECE1"/>
      </a:folHlink>
    </a:clrScheme>
    <a:fontScheme name="МТС Банк 02.04.201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Firm Format - template_Blue">
  <a:themeElements>
    <a:clrScheme name="Custom 8">
      <a:dk1>
        <a:srgbClr val="000000"/>
      </a:dk1>
      <a:lt1>
        <a:srgbClr val="FFFFFF"/>
      </a:lt1>
      <a:dk2>
        <a:srgbClr val="0A2896"/>
      </a:dk2>
      <a:lt2>
        <a:srgbClr val="FFFFFF"/>
      </a:lt2>
      <a:accent1>
        <a:srgbClr val="D8D8D8"/>
      </a:accent1>
      <a:accent2>
        <a:srgbClr val="CCEEFF"/>
      </a:accent2>
      <a:accent3>
        <a:srgbClr val="00AAFF"/>
      </a:accent3>
      <a:accent4>
        <a:srgbClr val="0A2896"/>
      </a:accent4>
      <a:accent5>
        <a:srgbClr val="F0A028"/>
      </a:accent5>
      <a:accent6>
        <a:srgbClr val="808080"/>
      </a:accent6>
      <a:hlink>
        <a:srgbClr val="00AAFF"/>
      </a:hlink>
      <a:folHlink>
        <a:srgbClr val="0A289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VTB New Template.potx" id="{8762BED0-4C2E-4D58-9F4A-499EE3F2156B}" vid="{36CE5ECC-CBC2-4E81-8E49-CABC1D261299}"/>
    </a:ext>
  </a:extLst>
</a:theme>
</file>

<file path=ppt/theme/theme5.xml><?xml version="1.0" encoding="utf-8"?>
<a:theme xmlns:a="http://schemas.openxmlformats.org/drawingml/2006/main" name="1_MTSB_Theme">
  <a:themeElements>
    <a:clrScheme name="МТС Банк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EA212E"/>
      </a:accent1>
      <a:accent2>
        <a:srgbClr val="4E6470"/>
      </a:accent2>
      <a:accent3>
        <a:srgbClr val="C00000"/>
      </a:accent3>
      <a:accent4>
        <a:srgbClr val="2F8EA1"/>
      </a:accent4>
      <a:accent5>
        <a:srgbClr val="1D1D1B"/>
      </a:accent5>
      <a:accent6>
        <a:srgbClr val="B2B2B2"/>
      </a:accent6>
      <a:hlink>
        <a:srgbClr val="0000FF"/>
      </a:hlink>
      <a:folHlink>
        <a:srgbClr val="800080"/>
      </a:folHlink>
    </a:clrScheme>
    <a:fontScheme name="МТС Банк">
      <a:majorFont>
        <a:latin typeface="Futura New Bold"/>
        <a:ea typeface=""/>
        <a:cs typeface=""/>
      </a:majorFont>
      <a:minorFont>
        <a:latin typeface="La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TSB_Theme" id="{8CA31E44-3C8E-46C5-91EF-38DE7D931DB9}" vid="{6E739AC9-81B4-4952-A302-377603D24196}"/>
    </a:ext>
  </a:extLst>
</a:theme>
</file>

<file path=ppt/theme/theme6.xml><?xml version="1.0" encoding="utf-8"?>
<a:theme xmlns:a="http://schemas.openxmlformats.org/drawingml/2006/main" name="1_Тема MTS BANK">
  <a:themeElements>
    <a:clrScheme name="МТС Банк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EA212E"/>
      </a:accent1>
      <a:accent2>
        <a:srgbClr val="4E6470"/>
      </a:accent2>
      <a:accent3>
        <a:srgbClr val="C00000"/>
      </a:accent3>
      <a:accent4>
        <a:srgbClr val="2F8EA1"/>
      </a:accent4>
      <a:accent5>
        <a:srgbClr val="1D1D1B"/>
      </a:accent5>
      <a:accent6>
        <a:srgbClr val="B2B2B2"/>
      </a:accent6>
      <a:hlink>
        <a:srgbClr val="0000FF"/>
      </a:hlink>
      <a:folHlink>
        <a:srgbClr val="800080"/>
      </a:folHlink>
    </a:clrScheme>
    <a:fontScheme name="МТС Банк">
      <a:majorFont>
        <a:latin typeface="Futura New Bold"/>
        <a:ea typeface=""/>
        <a:cs typeface=""/>
      </a:majorFont>
      <a:minorFont>
        <a:latin typeface="La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"/>
        <a:ea typeface="Helvetica Neue"/>
        <a:cs typeface="Helvetica Neue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ongDocumentName xmlns="8e1cbae1-d0ba-4104-b1b2-fd6a48d528f8"/>
    <IsPinned xmlns="http://schemas.microsoft.com/sharepoint/v3">false</IsPinned>
    <DocumentProperty xmlns="8e1cbae1-d0ba-4104-b1b2-fd6a48d528f8">Обычный</DocumentProperty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7E74FC4615A76C4798DA65FAC2AB3458" ma:contentTypeVersion="3" ma:contentTypeDescription="Создание документа." ma:contentTypeScope="" ma:versionID="97f529965873b5d146d5e60fc41e1ff7">
  <xsd:schema xmlns:xsd="http://www.w3.org/2001/XMLSchema" xmlns:xs="http://www.w3.org/2001/XMLSchema" xmlns:p="http://schemas.microsoft.com/office/2006/metadata/properties" xmlns:ns1="http://schemas.microsoft.com/sharepoint/v3" xmlns:ns2="8e1cbae1-d0ba-4104-b1b2-fd6a48d528f8" targetNamespace="http://schemas.microsoft.com/office/2006/metadata/properties" ma:root="true" ma:fieldsID="f7042a056f9290200f0115e105b7cf5f" ns1:_="" ns2:_="">
    <xsd:import namespace="http://schemas.microsoft.com/sharepoint/v3"/>
    <xsd:import namespace="8e1cbae1-d0ba-4104-b1b2-fd6a48d528f8"/>
    <xsd:element name="properties">
      <xsd:complexType>
        <xsd:sequence>
          <xsd:element name="documentManagement">
            <xsd:complexType>
              <xsd:all>
                <xsd:element ref="ns2:LongDocumentName"/>
                <xsd:element ref="ns2:DocumentProperty"/>
                <xsd:element ref="ns1:IsPinne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IsPinned" ma:index="10" nillable="true" ma:displayName="Закрепить в топе" ma:default="0" ma:description="Свойство используется для определения топовых новостей в лентах пабликов" ma:internalName="IsPinned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1cbae1-d0ba-4104-b1b2-fd6a48d528f8" elementFormDefault="qualified">
    <xsd:import namespace="http://schemas.microsoft.com/office/2006/documentManagement/types"/>
    <xsd:import namespace="http://schemas.microsoft.com/office/infopath/2007/PartnerControls"/>
    <xsd:element name="LongDocumentName" ma:index="8" ma:displayName="Название документа" ma:internalName="LongDocumentName">
      <xsd:simpleType>
        <xsd:restriction base="dms:Note">
          <xsd:maxLength value="255"/>
        </xsd:restriction>
      </xsd:simpleType>
    </xsd:element>
    <xsd:element name="DocumentProperty" ma:index="9" ma:displayName="Признак документа" ma:default="Обычный" ma:internalName="DocumentProperty">
      <xsd:simpleType>
        <xsd:restriction base="dms:Choice">
          <xsd:enumeration value="Обычный"/>
          <xsd:enumeration value="Важный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Позиция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7C0373F-FA59-4174-B154-212A249B335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2610408-F273-4ABB-89DA-D45B0148319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8e1cbae1-d0ba-4104-b1b2-fd6a48d528f8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6C5DA5F-0C9A-4B1D-8D57-A906442E61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e1cbae1-d0ba-4104-b1b2-fd6a48d528f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9965</TotalTime>
  <Words>422</Words>
  <Application>Microsoft Office PowerPoint</Application>
  <PresentationFormat>Широкоэкранный</PresentationFormat>
  <Paragraphs>105</Paragraphs>
  <Slides>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21" baseType="lpstr">
      <vt:lpstr>Arial</vt:lpstr>
      <vt:lpstr>Arial Black</vt:lpstr>
      <vt:lpstr>Calibri</vt:lpstr>
      <vt:lpstr>Calibri Light</vt:lpstr>
      <vt:lpstr>Helvetica Neue</vt:lpstr>
      <vt:lpstr>Helvetica Neue Light</vt:lpstr>
      <vt:lpstr>MTS Sans</vt:lpstr>
      <vt:lpstr>MTS Sans Black</vt:lpstr>
      <vt:lpstr>Times New Roman</vt:lpstr>
      <vt:lpstr>Wingdings</vt:lpstr>
      <vt:lpstr>2_BLACK</vt:lpstr>
      <vt:lpstr>4_BLACK</vt:lpstr>
      <vt:lpstr>Тема MTS BANK</vt:lpstr>
      <vt:lpstr>Firm Format - template_Blue</vt:lpstr>
      <vt:lpstr>1_MTSB_Theme</vt:lpstr>
      <vt:lpstr>1_Тема MTS BANK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Музюкина Арина Геннадьевна</dc:creator>
  <cp:lastModifiedBy>Ковалева Ирина Вячеславовнаа</cp:lastModifiedBy>
  <cp:revision>1128</cp:revision>
  <dcterms:modified xsi:type="dcterms:W3CDTF">2023-11-16T08:33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74FC4615A76C4798DA65FAC2AB3458</vt:lpwstr>
  </property>
</Properties>
</file>